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3453" userDrawn="1">
          <p15:clr>
            <a:srgbClr val="A4A3A4"/>
          </p15:clr>
        </p15:guide>
        <p15:guide id="13" pos="59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7F0000"/>
    <a:srgbClr val="B00000"/>
    <a:srgbClr val="FF8989"/>
    <a:srgbClr val="D9D9D9"/>
    <a:srgbClr val="A1A1A1"/>
    <a:srgbClr val="404040"/>
    <a:srgbClr val="F6F6F6"/>
    <a:srgbClr val="444444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  <p:guide orient="horz" pos="2160"/>
        <p:guide orient="horz" pos="3453"/>
        <p:guide pos="599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PS)" userId="79615dfe-ed48-4e74-a40f-4f7b034c1c27" providerId="ADAL" clId="{06063CA0-AEE8-4F27-859A-97DB1F593625}"/>
    <pc:docChg chg="modSld">
      <pc:chgData name="Meyer Raphael (PAR-EPS)" userId="79615dfe-ed48-4e74-a40f-4f7b034c1c27" providerId="ADAL" clId="{06063CA0-AEE8-4F27-859A-97DB1F593625}" dt="2026-02-20T11:06:42.271" v="12" actId="27918"/>
      <pc:docMkLst>
        <pc:docMk/>
      </pc:docMkLst>
      <pc:sldChg chg="mod">
        <pc:chgData name="Meyer Raphael (PAR-EPS)" userId="79615dfe-ed48-4e74-a40f-4f7b034c1c27" providerId="ADAL" clId="{06063CA0-AEE8-4F27-859A-97DB1F593625}" dt="2026-02-20T11:06:42.271" v="12" actId="27918"/>
        <pc:sldMkLst>
          <pc:docMk/>
          <pc:sldMk cId="1659961403" sldId="399"/>
        </pc:sldMkLst>
      </pc:sldChg>
    </pc:docChg>
  </pc:docChgLst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0:18:20.838" v="15" actId="20577"/>
      <pc:docMkLst>
        <pc:docMk/>
      </pc:docMkLst>
      <pc:sldChg chg="modSp mod">
        <pc:chgData name="Weigel Stefan (PAR-EPS)" userId="fd3b2067-2981-4ad8-bf3a-d2e1004e4fa8" providerId="ADAL" clId="{A4CFA2F4-FF8D-446B-B271-6DF568DBEADA}" dt="2026-02-12T10:18:20.838" v="15" actId="20577"/>
        <pc:sldMkLst>
          <pc:docMk/>
          <pc:sldMk cId="1659961403" sldId="399"/>
        </pc:sldMkLst>
        <pc:spChg chg="mod">
          <ac:chgData name="Weigel Stefan (PAR-EPS)" userId="fd3b2067-2981-4ad8-bf3a-d2e1004e4fa8" providerId="ADAL" clId="{A4CFA2F4-FF8D-446B-B271-6DF568DBEADA}" dt="2026-02-12T10:18:20.838" v="15" actId="20577"/>
          <ac:spMkLst>
            <pc:docMk/>
            <pc:sldMk cId="1659961403" sldId="399"/>
            <ac:spMk id="2" creationId="{00000000-0000-0000-0000-000000000000}"/>
          </ac:spMkLst>
        </pc:spChg>
        <pc:graphicFrameChg chg="mod">
          <ac:chgData name="Weigel Stefan (PAR-EPS)" userId="fd3b2067-2981-4ad8-bf3a-d2e1004e4fa8" providerId="ADAL" clId="{A4CFA2F4-FF8D-446B-B271-6DF568DBEADA}" dt="2026-02-12T10:17:27.349" v="13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Energieverbrauch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91C1-4368-8712-1FFA6E2A3F9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9</c:f>
              <c:strCache>
                <c:ptCount val="7"/>
                <c:pt idx="0">
                  <c:v>Rail power consumption by SBB passenger and freight transport</c:v>
                </c:pt>
                <c:pt idx="1">
                  <c:v>Infrastructure network rail power consumption</c:v>
                </c:pt>
                <c:pt idx="2">
                  <c:v>Own use of rail power by energy infrastructure</c:v>
                </c:pt>
                <c:pt idx="3">
                  <c:v>Electricity for buildings and facilities</c:v>
                </c:pt>
                <c:pt idx="4">
                  <c:v>Fuel for rail traction</c:v>
                </c:pt>
                <c:pt idx="5">
                  <c:v>Fuel for road vehicles, machines and equipment</c:v>
                </c:pt>
                <c:pt idx="6">
                  <c:v>Thermal energy for buildings and facilities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687.1480083680001</c:v>
                </c:pt>
                <c:pt idx="1">
                  <c:v>104.64253017199999</c:v>
                </c:pt>
                <c:pt idx="2">
                  <c:v>189.66059999999999</c:v>
                </c:pt>
                <c:pt idx="3">
                  <c:v>275.43759451</c:v>
                </c:pt>
                <c:pt idx="4">
                  <c:v>89.409598519170103</c:v>
                </c:pt>
                <c:pt idx="5">
                  <c:v>25.284319791009299</c:v>
                </c:pt>
                <c:pt idx="6">
                  <c:v>167.6689792675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9.497211721213894E-2"/>
          <c:y val="0.73015177378334406"/>
          <c:w val="0.87065602873911319"/>
          <c:h val="0.26984822621665594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Treibhausgasemissionen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FC46-4EEA-8EE7-1083D527B585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9</c:f>
              <c:strCache>
                <c:ptCount val="7"/>
                <c:pt idx="0">
                  <c:v>Traction current</c:v>
                </c:pt>
                <c:pt idx="1">
                  <c:v>Infrastructure network rail power consumption</c:v>
                </c:pt>
                <c:pt idx="2">
                  <c:v>Own use of rail power by energy infrastructure</c:v>
                </c:pt>
                <c:pt idx="3">
                  <c:v>Electricity for buildings and facilities</c:v>
                </c:pt>
                <c:pt idx="4">
                  <c:v>Fuel for rail traction</c:v>
                </c:pt>
                <c:pt idx="5">
                  <c:v>Fuel for road vehicles, machines and equipment</c:v>
                </c:pt>
                <c:pt idx="6">
                  <c:v>Thermal energy for buildings and facilities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330.5229325307801</c:v>
                </c:pt>
                <c:pt idx="1">
                  <c:v>82.523456994486594</c:v>
                </c:pt>
                <c:pt idx="2">
                  <c:v>149.57062240297901</c:v>
                </c:pt>
                <c:pt idx="3">
                  <c:v>217.21629291502799</c:v>
                </c:pt>
                <c:pt idx="4">
                  <c:v>18849.021439193199</c:v>
                </c:pt>
                <c:pt idx="5">
                  <c:v>6818.9822849477196</c:v>
                </c:pt>
                <c:pt idx="6">
                  <c:v>20287.068974936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ergy and climate </a:t>
            </a:r>
            <a:r>
              <a:rPr lang="en-US"/>
              <a:t>i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14371132"/>
              </p:ext>
            </p:extLst>
          </p:nvPr>
        </p:nvGraphicFramePr>
        <p:xfrm>
          <a:off x="1487489" y="1700808"/>
          <a:ext cx="4787900" cy="497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17700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nergy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consumption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275389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Greenhouse gas </a:t>
            </a:r>
            <a:r>
              <a:rPr kumimoji="0" lang="de-CH" sz="14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missions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777989502"/>
              </p:ext>
            </p:extLst>
          </p:nvPr>
        </p:nvGraphicFramePr>
        <p:xfrm>
          <a:off x="6114165" y="1700809"/>
          <a:ext cx="360000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901157" y="5372021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15380B8-1F1D-F904-610A-499F9FCB2846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9B8DEF1-66DE-4614-A6B3-DAC9AE704D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nergy and climate i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y and climate in 2024.</dc:title>
  <dc:creator>Meyer Raphael (KOM-PGA-VSF)</dc:creator>
  <cp:lastModifiedBy>Weigel Stefan (PAR-EPS)</cp:lastModifiedBy>
  <cp:revision>56</cp:revision>
  <cp:lastPrinted>2024-02-16T13:08:26Z</cp:lastPrinted>
  <dcterms:created xsi:type="dcterms:W3CDTF">2020-09-30T11:00:09Z</dcterms:created>
  <dcterms:modified xsi:type="dcterms:W3CDTF">2026-03-03T13:1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